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6" r:id="rId4"/>
  </p:sldMasterIdLst>
  <p:notesMasterIdLst>
    <p:notesMasterId r:id="rId7"/>
  </p:notesMasterIdLst>
  <p:handoutMasterIdLst>
    <p:handoutMasterId r:id="rId8"/>
  </p:handoutMasterIdLst>
  <p:sldIdLst>
    <p:sldId id="257" r:id="rId5"/>
    <p:sldId id="258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6386F6-F883-7FF7-2C25-DDE3719EA1ED}" name="Florian Kampfer" initials="FK" userId="S::fkampfer@think-cell.com::1b1e8d7c-2258-4c4a-8504-7d182935f29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7777"/>
    <a:srgbClr val="000000"/>
    <a:srgbClr val="C52536"/>
    <a:srgbClr val="A5A5A5"/>
    <a:srgbClr val="444444"/>
    <a:srgbClr val="EAEAEA"/>
    <a:srgbClr val="C0C0C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1" autoAdjust="0"/>
    <p:restoredTop sz="94632" autoAdjust="0"/>
  </p:normalViewPr>
  <p:slideViewPr>
    <p:cSldViewPr snapToGrid="0">
      <p:cViewPr varScale="1">
        <p:scale>
          <a:sx n="76" d="100"/>
          <a:sy n="76" d="100"/>
        </p:scale>
        <p:origin x="56" y="72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664047151277013"/>
          <c:y val="5.9742647058823532E-2"/>
          <c:w val="0.79292730844793713"/>
          <c:h val="0.8805147058823529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F$1</c:f>
              <c:numCache>
                <c:formatCode>General</c:formatCode>
                <c:ptCount val="6"/>
                <c:pt idx="0">
                  <c:v>53</c:v>
                </c:pt>
                <c:pt idx="1">
                  <c:v>52</c:v>
                </c:pt>
                <c:pt idx="2">
                  <c:v>50</c:v>
                </c:pt>
                <c:pt idx="3">
                  <c:v>53</c:v>
                </c:pt>
                <c:pt idx="4">
                  <c:v>55.000000000000007</c:v>
                </c:pt>
                <c:pt idx="5">
                  <c:v>55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9B-4D82-8CE6-4BE7EDE93C59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F$2</c:f>
              <c:numCache>
                <c:formatCode>General</c:formatCode>
                <c:ptCount val="6"/>
                <c:pt idx="0">
                  <c:v>0.50000000000000044</c:v>
                </c:pt>
                <c:pt idx="1">
                  <c:v>1.0000000000000009</c:v>
                </c:pt>
                <c:pt idx="2">
                  <c:v>5.0000000000000044</c:v>
                </c:pt>
                <c:pt idx="3">
                  <c:v>2.0000000000000018</c:v>
                </c:pt>
                <c:pt idx="4">
                  <c:v>4.0000000000000036</c:v>
                </c:pt>
                <c:pt idx="5">
                  <c:v>4.50000000000000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9B-4D82-8CE6-4BE7EDE93C59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F$3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2-279B-4D82-8CE6-4BE7EDE93C59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F$4</c:f>
              <c:numCache>
                <c:formatCode>General</c:formatCode>
                <c:ptCount val="6"/>
                <c:pt idx="0">
                  <c:v>46.5</c:v>
                </c:pt>
                <c:pt idx="1">
                  <c:v>47</c:v>
                </c:pt>
                <c:pt idx="2">
                  <c:v>44.999999999999993</c:v>
                </c:pt>
                <c:pt idx="3">
                  <c:v>44.999999999999993</c:v>
                </c:pt>
                <c:pt idx="4">
                  <c:v>40.999999999999993</c:v>
                </c:pt>
                <c:pt idx="5">
                  <c:v>40.4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79B-4D82-8CE6-4BE7EDE93C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1783448"/>
        <c:axId val="1"/>
      </c:areaChart>
      <c:catAx>
        <c:axId val="3717834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1783448"/>
        <c:crosses val="min"/>
        <c:crossBetween val="midCat"/>
        <c:majorUnit val="1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505183788878417E-2"/>
          <c:y val="2.5742574257425741E-2"/>
          <c:w val="0.95098963242224321"/>
          <c:h val="0.948514851485148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709</c:v>
                </c:pt>
                <c:pt idx="1">
                  <c:v>712</c:v>
                </c:pt>
                <c:pt idx="2">
                  <c:v>710</c:v>
                </c:pt>
                <c:pt idx="3">
                  <c:v>700</c:v>
                </c:pt>
                <c:pt idx="4">
                  <c:v>760</c:v>
                </c:pt>
                <c:pt idx="5">
                  <c:v>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77-4058-B5B1-E2303F84F41A}"/>
            </c:ext>
          </c:extLst>
        </c:ser>
        <c:ser>
          <c:idx val="1"/>
          <c:order val="1"/>
          <c:spPr>
            <a:solidFill>
              <a:srgbClr val="FF0000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77-4058-B5B1-E2303F84F4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71777688"/>
        <c:axId val="1"/>
      </c:barChart>
      <c:catAx>
        <c:axId val="3717776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6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717776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664047151277013"/>
          <c:y val="5.9742647058823532E-2"/>
          <c:w val="0.79292730844793713"/>
          <c:h val="0.8805147058823529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15</c:v>
                </c:pt>
                <c:pt idx="1">
                  <c:v>35</c:v>
                </c:pt>
                <c:pt idx="2">
                  <c:v>35</c:v>
                </c:pt>
                <c:pt idx="3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5C-462A-994F-149716B91EBA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0</c:v>
                </c:pt>
                <c:pt idx="1">
                  <c:v>9.9999999999999982</c:v>
                </c:pt>
                <c:pt idx="2">
                  <c:v>8.9999999999999964</c:v>
                </c:pt>
                <c:pt idx="3">
                  <c:v>7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55C-462A-994F-149716B91EBA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30.999999999999993</c:v>
                </c:pt>
                <c:pt idx="1">
                  <c:v>17.000000000000004</c:v>
                </c:pt>
                <c:pt idx="2">
                  <c:v>15.000000000000002</c:v>
                </c:pt>
                <c:pt idx="3">
                  <c:v>14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55C-462A-994F-149716B91EBA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val>
            <c:numRef>
              <c:f>Sheet1!$A$4:$D$4</c:f>
              <c:numCache>
                <c:formatCode>General</c:formatCode>
                <c:ptCount val="4"/>
                <c:pt idx="0">
                  <c:v>34.000000000000007</c:v>
                </c:pt>
                <c:pt idx="1">
                  <c:v>38</c:v>
                </c:pt>
                <c:pt idx="2">
                  <c:v>41</c:v>
                </c:pt>
                <c:pt idx="3">
                  <c:v>41.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55C-462A-994F-149716B91E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69249136"/>
        <c:axId val="1"/>
      </c:areaChart>
      <c:catAx>
        <c:axId val="369249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9249136"/>
        <c:crosses val="min"/>
        <c:crossBetween val="midCat"/>
        <c:majorUnit val="1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505183788878417E-2"/>
          <c:y val="2.5742574257425741E-2"/>
          <c:w val="0.95098963242224321"/>
          <c:h val="0.948514851485148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50</c:v>
                </c:pt>
                <c:pt idx="1">
                  <c:v>401</c:v>
                </c:pt>
                <c:pt idx="2">
                  <c:v>481</c:v>
                </c:pt>
                <c:pt idx="3">
                  <c:v>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B7-40CF-9D7B-12D4735031AB}"/>
            </c:ext>
          </c:extLst>
        </c:ser>
        <c:ser>
          <c:idx val="1"/>
          <c:order val="1"/>
          <c:spPr>
            <a:solidFill>
              <a:srgbClr val="FF0000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3B7-40CF-9D7B-12D4735031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9244096"/>
        <c:axId val="1"/>
      </c:barChart>
      <c:catAx>
        <c:axId val="3692440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9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692440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5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4F66BFA0-1F61-4EBB-B1B0-9EBAB581B69A}" type="datetimeFigureOut">
              <a:rPr lang="en-US" smtClean="0"/>
              <a:pPr/>
              <a:t>5/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2510C2A9-B7BA-4B07-BD2D-35895E45D25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234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256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CE8A06-CDE7-C9B8-41FC-D53CC3A91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61959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CE8A06-CDE7-C9B8-41FC-D53CC3A91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CEAD62-5EDF-8B4F-D2F7-FD0F95F6A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58578"/>
            <a:ext cx="10082412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9" y="1557338"/>
            <a:ext cx="1141253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2F25BEB-32C4-0492-2475-F1C4B17AEAE5}"/>
              </a:ext>
            </a:extLst>
          </p:cNvPr>
          <p:cNvGrpSpPr/>
          <p:nvPr userDrawn="1"/>
        </p:nvGrpSpPr>
        <p:grpSpPr>
          <a:xfrm>
            <a:off x="0" y="6530229"/>
            <a:ext cx="12191999" cy="327771"/>
            <a:chOff x="0" y="6530229"/>
            <a:chExt cx="12191999" cy="32777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DC53A8D-FE22-665F-2404-A4CD8E92E2A3}"/>
                </a:ext>
              </a:extLst>
            </p:cNvPr>
            <p:cNvSpPr/>
            <p:nvPr userDrawn="1"/>
          </p:nvSpPr>
          <p:spPr>
            <a:xfrm>
              <a:off x="0" y="6530229"/>
              <a:ext cx="5119084" cy="327771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768E3BD-23D0-BFE8-A6E8-4B7A30A39183}"/>
                </a:ext>
              </a:extLst>
            </p:cNvPr>
            <p:cNvSpPr/>
            <p:nvPr userDrawn="1"/>
          </p:nvSpPr>
          <p:spPr>
            <a:xfrm flipH="1">
              <a:off x="2935679" y="6530400"/>
              <a:ext cx="9256320" cy="327600"/>
            </a:xfrm>
            <a:custGeom>
              <a:avLst/>
              <a:gdLst>
                <a:gd name="connsiteX0" fmla="*/ 8923493 w 9256320"/>
                <a:gd name="connsiteY0" fmla="*/ 0 h 327771"/>
                <a:gd name="connsiteX1" fmla="*/ 0 w 9256320"/>
                <a:gd name="connsiteY1" fmla="*/ 0 h 327771"/>
                <a:gd name="connsiteX2" fmla="*/ 0 w 9256320"/>
                <a:gd name="connsiteY2" fmla="*/ 327770 h 327771"/>
                <a:gd name="connsiteX3" fmla="*/ 6940998 w 9256320"/>
                <a:gd name="connsiteY3" fmla="*/ 327770 h 327771"/>
                <a:gd name="connsiteX4" fmla="*/ 6940998 w 9256320"/>
                <a:gd name="connsiteY4" fmla="*/ 327771 h 327771"/>
                <a:gd name="connsiteX5" fmla="*/ 7199969 w 9256320"/>
                <a:gd name="connsiteY5" fmla="*/ 327771 h 327771"/>
                <a:gd name="connsiteX6" fmla="*/ 7732463 w 9256320"/>
                <a:gd name="connsiteY6" fmla="*/ 327771 h 327771"/>
                <a:gd name="connsiteX7" fmla="*/ 9256320 w 9256320"/>
                <a:gd name="connsiteY7" fmla="*/ 327771 h 327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6320" h="327771">
                  <a:moveTo>
                    <a:pt x="8923493" y="0"/>
                  </a:moveTo>
                  <a:lnTo>
                    <a:pt x="0" y="0"/>
                  </a:lnTo>
                  <a:lnTo>
                    <a:pt x="0" y="327770"/>
                  </a:lnTo>
                  <a:lnTo>
                    <a:pt x="6940998" y="327770"/>
                  </a:lnTo>
                  <a:lnTo>
                    <a:pt x="6940998" y="327771"/>
                  </a:lnTo>
                  <a:lnTo>
                    <a:pt x="7199969" y="327771"/>
                  </a:lnTo>
                  <a:lnTo>
                    <a:pt x="7732463" y="327771"/>
                  </a:lnTo>
                  <a:lnTo>
                    <a:pt x="9256320" y="32777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3012017-F32E-F3DC-5C0D-99A4844BE5F1}"/>
              </a:ext>
            </a:extLst>
          </p:cNvPr>
          <p:cNvGrpSpPr/>
          <p:nvPr userDrawn="1"/>
        </p:nvGrpSpPr>
        <p:grpSpPr>
          <a:xfrm>
            <a:off x="10641600" y="258578"/>
            <a:ext cx="1177863" cy="429366"/>
            <a:chOff x="10641600" y="258578"/>
            <a:chExt cx="1177863" cy="42936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80BEADF-7CC4-9AAE-89D1-B18369F9BC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82550" y="352890"/>
              <a:ext cx="1036913" cy="240609"/>
            </a:xfrm>
            <a:prstGeom prst="rect">
              <a:avLst/>
            </a:prstGeom>
          </p:spPr>
        </p:pic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6371387-1DE5-15CB-052E-C6056403E1B2}"/>
                </a:ext>
              </a:extLst>
            </p:cNvPr>
            <p:cNvCxnSpPr/>
            <p:nvPr userDrawn="1"/>
          </p:nvCxnSpPr>
          <p:spPr>
            <a:xfrm>
              <a:off x="10641600" y="258578"/>
              <a:ext cx="0" cy="429366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03732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27025" indent="-14922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96888" indent="-1666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7388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38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7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image" Target="../media/image3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oleObject" Target="../embeddings/oleObject3.bin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slideLayout" Target="../slideLayouts/slideLayout1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chart" Target="../charts/chart2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tags" Target="../tags/tag60.xml"/><Relationship Id="rId3" Type="http://schemas.openxmlformats.org/officeDocument/2006/relationships/tags" Target="../tags/tag37.xml"/><Relationship Id="rId21" Type="http://schemas.openxmlformats.org/officeDocument/2006/relationships/tags" Target="../tags/tag55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tags" Target="../tags/tag59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29" Type="http://schemas.openxmlformats.org/officeDocument/2006/relationships/oleObject" Target="../embeddings/oleObject4.bin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tags" Target="../tags/tag58.xml"/><Relationship Id="rId32" Type="http://schemas.openxmlformats.org/officeDocument/2006/relationships/chart" Target="../charts/chart4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tags" Target="../tags/tag57.xml"/><Relationship Id="rId28" Type="http://schemas.openxmlformats.org/officeDocument/2006/relationships/slideLayout" Target="../slideLayouts/slideLayout1.xml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31" Type="http://schemas.openxmlformats.org/officeDocument/2006/relationships/chart" Target="../charts/chart3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tags" Target="../tags/tag61.xml"/><Relationship Id="rId30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6418CCA-5FC7-BAA6-C9D7-185BE3E26C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708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49" imgH="349" progId="TCLayout.ActiveDocument.1">
                  <p:embed/>
                </p:oleObj>
              </mc:Choice>
              <mc:Fallback>
                <p:oleObj name="think-cell Slide" r:id="rId33" imgW="349" imgH="3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7821452-EE0F-1C06-E94E-27DFF0448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fld id="{9DB53E9F-216F-4F11-B5B4-0C22785E3F45}" type="thinkcell&lt;?xml version=&quot;1.0&quot; encoding=&quot;UTF-16&quot; standalone=&quot;yes&quot;?&gt;&lt;root reqver=&quot;28224&quot;&gt;&lt;version val=&quot;35704&quot;/&gt;&lt;PersistentType&gt;&lt;m_varval type=&quot;5&quot;&gt;Competition: Germany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SlideTitle&lt;/m_strName&gt;&lt;/PersistentType&gt;&lt;/root&gt;">
              <a:rPr lang="en-US" altLang="en-US" smtClean="0">
                <a:effectLst/>
                <a:latin typeface="+mn-lt"/>
              </a:rPr>
              <a:pPr/>
              <a:t>Competition: Germany</a:t>
            </a:fld>
            <a:endParaRPr lang="en-US" dirty="0">
              <a:latin typeface="+mn-lt"/>
            </a:endParaRPr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72B486E2-2D29-9C3D-BCBC-66B3CC058BE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8531684"/>
              </p:ext>
            </p:extLst>
          </p:nvPr>
        </p:nvGraphicFramePr>
        <p:xfrm>
          <a:off x="1174750" y="1804988"/>
          <a:ext cx="4040188" cy="345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7256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4E2A5C5F-1BF1-451B-B64A-AA794D27E428}" type="datetime'''''''2''''''''''0''''''''''''2''''0'''''''''''">
              <a:rPr lang="en-US" altLang="en-US" sz="1400" smtClean="0">
                <a:solidFill>
                  <a:schemeClr val="tx2"/>
                </a:solidFill>
              </a:rPr>
              <a:pPr/>
              <a:t>202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36696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704A03DC-AA17-4CBD-A9CE-71C0628291FE}" type="datetime'''''''''''''''2''''''0''2''''''''''1'''''''''''''''''">
              <a:rPr lang="en-US" altLang="en-US" sz="1400" smtClean="0">
                <a:solidFill>
                  <a:schemeClr val="tx2"/>
                </a:solidFill>
              </a:rPr>
              <a:pPr/>
              <a:t>202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006725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2494BAB1-38DD-4867-AD64-6254BD0FECF8}" type="datetime'2''''0''''''''''''''''''''''''''2''''''2'''''">
              <a:rPr lang="en-US" altLang="en-US" sz="1400" smtClean="0">
                <a:solidFill>
                  <a:schemeClr val="tx2"/>
                </a:solidFill>
              </a:rPr>
              <a:pPr/>
              <a:t>202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459115-80B8-FBE8-131E-04B97EA376F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648075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02491DA3-C91E-479A-9CC8-3B12DA5F2C26}" type="datetime'''2''''''''0''''''''2''''''''3'''''">
              <a:rPr lang="en-US" altLang="en-US" sz="1400" smtClean="0">
                <a:solidFill>
                  <a:schemeClr val="tx2"/>
                </a:solidFill>
              </a:rPr>
              <a:pPr/>
              <a:t>2023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1D7ED61-934D-E449-A8F1-8D3B59F163A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287838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3502D5D0-779A-4818-A5AC-2691CD23440E}" type="datetime'''''''''2''''''''''''''''''''''02''''4'''''''''''''">
              <a:rPr lang="en-US" altLang="en-US" sz="1400" smtClean="0">
                <a:solidFill>
                  <a:schemeClr val="tx2"/>
                </a:solidFill>
              </a:rPr>
              <a:pPr/>
              <a:t>2024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D60ADCF-E8FC-4A3F-63D9-9336130D9B6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29188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FC651017-422A-4C06-B306-CC49316E54A1}" type="datetime'''''''''''2''''0''''2''''''''''''5'''''''''''''''">
              <a:rPr lang="en-US" altLang="en-US" sz="1400" smtClean="0">
                <a:solidFill>
                  <a:schemeClr val="tx2"/>
                </a:solidFill>
              </a:rPr>
              <a:pPr/>
              <a:t>202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06AFAE5-41EA-60FC-3EB6-5E68FDF46839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998663" y="553402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C196F81-6805-37CC-997A-BFAAA4354BB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998663" y="5797550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D0CC0BD-15DB-D0F8-5357-F918137D5EA7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789363" y="5534025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300288" y="5529263"/>
            <a:ext cx="1387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FB7F5552-AE60-45DF-80C9-737572E7FE63}" type="datetime'''''''''Ma''''r''k''''''''''''''et h''''eadr''''oo''m'''">
              <a:rPr lang="en-US" altLang="en-US" sz="1400" smtClean="0">
                <a:solidFill>
                  <a:schemeClr val="tx2"/>
                </a:solidFill>
              </a:rPr>
              <a:pPr/>
              <a:t>Market headroom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300288" y="5792788"/>
            <a:ext cx="1014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CAA34B05-EA69-4DA2-B95A-069B85430326}" type="datetime'C''''''o''''''mp''e''''''''''t''''i''tor 1'''''''''''''''''''">
              <a:rPr lang="en-US" altLang="en-US" sz="1400" smtClean="0">
                <a:solidFill>
                  <a:schemeClr val="tx2"/>
                </a:solidFill>
              </a:rPr>
              <a:pPr/>
              <a:t>Competitor 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3E3AF3B-AC63-C677-E76A-F84D4B5E0E5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090988" y="5529263"/>
            <a:ext cx="7969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BB055B72-C542-43EF-80F4-5F1EEBDB432D}" type="datetime'O''''''''''''''''ur ''''''''''''''''''br''''''an''''''''''d'''">
              <a:rPr lang="en-US" altLang="en-US" sz="1400" smtClean="0">
                <a:solidFill>
                  <a:schemeClr val="tx2"/>
                </a:solidFill>
              </a:rPr>
              <a:pPr/>
              <a:t>Our brand</a:t>
            </a:fld>
            <a:endParaRPr lang="en-US" sz="1400" dirty="0">
              <a:solidFill>
                <a:schemeClr val="tx2"/>
              </a:solidFill>
            </a:endParaRP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5A3846A8-8E0C-5F0E-A246-59AB288ABCD9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164186227"/>
              </p:ext>
            </p:extLst>
          </p:nvPr>
        </p:nvGraphicFramePr>
        <p:xfrm>
          <a:off x="6977063" y="1928813"/>
          <a:ext cx="3368675" cy="3206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121525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5AB3596F-884B-4B83-80AB-F711D564AA85}" type="datetime'''''20''''''''''''''''''''''2''''''0'''''">
              <a:rPr lang="en-US" altLang="en-US" sz="1400" smtClean="0">
                <a:solidFill>
                  <a:schemeClr val="tx2"/>
                </a:solidFill>
              </a:rPr>
              <a:pPr/>
              <a:t>202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6565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16F88B58-A8E4-4080-9DF1-B6C39AAB98F0}" type="datetime'''''''2''0''2''1'''''''''''''''">
              <a:rPr lang="en-US" altLang="en-US" sz="1400" smtClean="0">
                <a:solidFill>
                  <a:schemeClr val="tx2"/>
                </a:solidFill>
              </a:rPr>
              <a:pPr/>
              <a:t>202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1899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B5DB12AB-B283-43AE-91B5-5447A37FA9C0}" type="datetime'''20''22'''''''''''''''''''''''''''''''''''''''">
              <a:rPr lang="en-US" altLang="en-US" sz="1400" smtClean="0">
                <a:solidFill>
                  <a:schemeClr val="tx2"/>
                </a:solidFill>
              </a:rPr>
              <a:pPr/>
              <a:t>202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151688" y="198120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4E2ACC2D-A8C6-4656-926F-AC8B11BB3168}" type="datetime'''''70''''''''''''''''''''''9'''''''''''''''''''''''''''''">
              <a:rPr lang="en-US" altLang="en-US" sz="1400" smtClean="0">
                <a:solidFill>
                  <a:schemeClr val="tx2"/>
                </a:solidFill>
              </a:rPr>
              <a:pPr/>
              <a:t>709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686675" y="196850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12768EAF-0200-4DEE-B5E6-0D8FB286CE74}" type="datetime'''''''''''''''71''''''2'''''''''''''''''''''''''''''''''''">
              <a:rPr lang="en-US" altLang="en-US" sz="1400" smtClean="0">
                <a:solidFill>
                  <a:schemeClr val="tx2"/>
                </a:solidFill>
              </a:rPr>
              <a:pPr/>
              <a:t>71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220075" y="197643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834E24E0-C701-41D0-8CE1-2B08B133D1C5}" type="datetime'''''''''''''''''''''''''''''71''''''0'''''''''''''''''''">
              <a:rPr lang="en-US" altLang="en-US" sz="1400" smtClean="0">
                <a:solidFill>
                  <a:schemeClr val="tx2"/>
                </a:solidFill>
              </a:rPr>
              <a:pPr/>
              <a:t>71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9B7FA30-7038-A5CA-AC60-A0B9AB89EFF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7233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D85F91BE-B1A0-4058-8F5B-14071B2EE38C}" type="datetime'''''2''''''0''''''''''''2''''''''3'''''''''''''">
              <a:rPr lang="en-US" altLang="en-US" sz="1400" smtClean="0">
                <a:solidFill>
                  <a:schemeClr val="tx2"/>
                </a:solidFill>
              </a:rPr>
              <a:pPr/>
              <a:t>2023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C1BF4D1-060E-A693-726E-49501EB8E6F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25830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23292875-435A-4A1D-9A34-574A998399AA}" type="datetime'''''''''2''''''''0''''''''''''''''''''''''''''''''''2''4'''''">
              <a:rPr lang="en-US" altLang="en-US" sz="1400" smtClean="0">
                <a:solidFill>
                  <a:schemeClr val="tx2"/>
                </a:solidFill>
              </a:rPr>
              <a:pPr/>
              <a:t>2024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E585D53-84F4-5586-95B7-AD014712782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79170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4A07F5B3-D791-447A-AF1E-6B215EB9780F}" type="datetime'''''''2''''0''''''''2''''''''''''5'''''''">
              <a:rPr lang="en-US" altLang="en-US" sz="1400" smtClean="0">
                <a:solidFill>
                  <a:schemeClr val="tx2"/>
                </a:solidFill>
              </a:rPr>
              <a:pPr/>
              <a:t>202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27D05C7-B8EA-2156-7E60-21E78824418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753475" y="2017713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AFFDCDC7-7A65-4996-85FF-6787BB26A3E1}" type="datetime'''''''''''''''''''''''''''''''''''''''''''''7''''''0''''''0'">
              <a:rPr lang="en-US" altLang="en-US" sz="1400" smtClean="0">
                <a:solidFill>
                  <a:schemeClr val="tx2"/>
                </a:solidFill>
              </a:rPr>
              <a:pPr/>
              <a:t>70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4B743D4-A810-0823-8C7F-99C88C50468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288463" y="177800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71086780-75D0-4D9F-A060-364D59E13A47}" type="datetime'''7''''''''''''''''''''''''''''''6''0'''''">
              <a:rPr lang="en-US" altLang="en-US" sz="1400" smtClean="0">
                <a:solidFill>
                  <a:schemeClr val="tx2"/>
                </a:solidFill>
              </a:rPr>
              <a:pPr/>
              <a:t>76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901B786-589A-0E15-7FE9-89044DC7A53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9821863" y="177323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0B29DDE1-1E18-419A-9167-A6A2B10E530C}" type="datetime'''''''7''''''''''''''6''''''''''''''''''''''''1'''''''''''">
              <a:rPr lang="en-US" altLang="en-US" sz="1400" smtClean="0">
                <a:solidFill>
                  <a:schemeClr val="tx2"/>
                </a:solidFill>
              </a:rPr>
              <a:pPr/>
              <a:t>76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9089BB3-4BF5-870D-819F-35C54BBB48AD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7131050" y="5534025"/>
            <a:ext cx="250825" cy="187325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432675" y="5529263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45C8D971-FE54-4239-9274-09FD0B8A7467}" type="datetime'''P''''''''''''en''''''''din''''g'''''''">
              <a:rPr lang="en-US" altLang="en-US" sz="1400" smtClean="0">
                <a:solidFill>
                  <a:srgbClr val="000000"/>
                </a:solidFill>
              </a:rPr>
              <a:pPr/>
              <a:t>Pending</a:t>
            </a:fld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928813" y="1290638"/>
            <a:ext cx="3203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1588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05540554-2A97-4CE8-938A-BB3B1224AC72}" type="thinkcell&lt;?xml version=&quot;1.0&quot; encoding=&quot;UTF-16&quot; standalone=&quot;yes&quot;?&gt;&lt;root reqver=&quot;28224&quot;&gt;&lt;version val=&quot;35704&quot;/&gt;&lt;PersistentType&gt;&lt;m_varval type=&quot;5&quot;&gt;Market share (2020–2028)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LeftChartTitle&lt;/m_strName&gt;&lt;/PersistentType&gt;&lt;/root&gt;">
              <a:rPr lang="en-US" altLang="en-US" smtClean="0">
                <a:solidFill>
                  <a:schemeClr val="tx2"/>
                </a:solidFill>
              </a:rPr>
              <a:pPr/>
              <a:t>Market share (2020–2028)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BCD959A9-1708-9CF4-114D-C95D3A9E750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059613" y="1290638"/>
            <a:ext cx="3203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ECA6C43D-0553-4052-84BF-FF24FD470F1F}" type="thinkcell&lt;?xml version=&quot;1.0&quot; encoding=&quot;UTF-16&quot; standalone=&quot;yes&quot;?&gt;&lt;root reqver=&quot;28224&quot;&gt;&lt;version val=&quot;35704&quot;/&gt;&lt;PersistentType&gt;&lt;m_varval type=&quot;5&quot;&gt;Our orders (10K)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RightChartTitle&lt;/m_strName&gt;&lt;/PersistentType&gt;&lt;/root&gt;">
              <a:rPr lang="en-US" altLang="en-US" smtClean="0">
                <a:solidFill>
                  <a:schemeClr val="tx2"/>
                </a:solidFill>
              </a:rPr>
              <a:pPr/>
              <a:t>Our orders (10K)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5200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6418CCA-5FC7-BAA6-C9D7-185BE3E26C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3159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49" imgH="349" progId="TCLayout.ActiveDocument.1">
                  <p:embed/>
                </p:oleObj>
              </mc:Choice>
              <mc:Fallback>
                <p:oleObj name="think-cell Slide" r:id="rId29" imgW="349" imgH="34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418CCA-5FC7-BAA6-C9D7-185BE3E26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7821452-EE0F-1C06-E94E-27DFF0448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fld id="{B242EBA8-7888-4039-9B96-F4655C388AA0}" type="thinkcell&lt;?xml version=&quot;1.0&quot; encoding=&quot;UTF-16&quot; standalone=&quot;yes&quot;?&gt;&lt;root reqver=&quot;28224&quot;&gt;&lt;version val=&quot;35704&quot;/&gt;&lt;PersistentType&gt;&lt;m_varval type=&quot;5&quot;&gt;Competition: Canada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SlideTitle&lt;/m_strName&gt;&lt;/PersistentType&gt;&lt;/root&gt;">
              <a:rPr lang="en-US" altLang="en-US" smtClean="0">
                <a:effectLst/>
                <a:latin typeface="+mn-lt"/>
              </a:rPr>
              <a:pPr/>
              <a:t>Competition: Canada</a:t>
            </a:fld>
            <a:endParaRPr lang="en-US" dirty="0">
              <a:latin typeface="+mn-lt"/>
            </a:endParaRP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A9DC874E-D79B-2CA4-3658-50B9564D96F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6261046"/>
              </p:ext>
            </p:extLst>
          </p:nvPr>
        </p:nvGraphicFramePr>
        <p:xfrm>
          <a:off x="1174750" y="1804988"/>
          <a:ext cx="4040188" cy="345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7256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E6A944DE-7F51-407F-BA89-F17BD5A79B02}" type="datetime'''''''''''''''''''''''''''''2''''''''''''''''02''2'''''''">
              <a:rPr lang="en-US" altLang="en-US" sz="1400" smtClean="0">
                <a:solidFill>
                  <a:schemeClr val="tx2"/>
                </a:solidFill>
              </a:rPr>
              <a:pPr/>
              <a:t>202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79400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F03B9E00-FC56-4E5C-9904-CE8F6DCE5803}" type="datetime'''''''''''''''''''''''''''2''''''0''''2''3'''''''''''''''''">
              <a:rPr lang="en-US" altLang="en-US" sz="1400" smtClean="0">
                <a:solidFill>
                  <a:schemeClr val="tx2"/>
                </a:solidFill>
              </a:rPr>
              <a:pPr/>
              <a:t>2023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86080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F9465A7C-D069-4FC8-B6F6-00DCCB2933E9}" type="datetime'2''''''''''''''''0''''''''''''2''''''''4'''''">
              <a:rPr lang="en-US" altLang="en-US" sz="1400" smtClean="0">
                <a:solidFill>
                  <a:schemeClr val="tx2"/>
                </a:solidFill>
              </a:rPr>
              <a:pPr/>
              <a:t>2024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220B8-3132-AFF3-57DA-319DA568263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29188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5E75DB30-EE0C-4BD2-88BA-EC60671FD2A6}" type="datetime'2''''''''02''''''''''''''''''''''5'''''''''''''''">
              <a:rPr lang="en-US" altLang="en-US" sz="1400" smtClean="0">
                <a:solidFill>
                  <a:schemeClr val="tx2"/>
                </a:solidFill>
              </a:rPr>
              <a:pPr/>
              <a:t>202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06AFAE5-41EA-60FC-3EB6-5E68FDF4683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998663" y="553402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977027D-0C0D-3C2A-60CE-1CAE6501C18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998663" y="579755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C196F81-6805-37CC-997A-BFAAA4354BBF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789363" y="5534025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C90899-CD28-48DB-BE0D-A2E8ECFEF8A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789363" y="5797550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300288" y="5529263"/>
            <a:ext cx="1387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C236B840-5769-4219-B396-24B8F1F500E4}" type="datetime'M''a''rk''''''''et'' ''''''he''''''''''a''dr''o''''''''''om'">
              <a:rPr lang="en-US" altLang="en-US" sz="1400" smtClean="0">
                <a:solidFill>
                  <a:schemeClr val="tx2"/>
                </a:solidFill>
              </a:rPr>
              <a:pPr/>
              <a:t>Market headroom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300288" y="5792788"/>
            <a:ext cx="1014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35C2DD49-B2BC-4015-A622-4DCB68263400}" type="datetime'''''C''o''''''''mp''''e''t''i''t''''''''o''r'''''' ''''2'''">
              <a:rPr lang="en-US" altLang="en-US" sz="1400" smtClean="0">
                <a:solidFill>
                  <a:schemeClr val="tx2"/>
                </a:solidFill>
              </a:rPr>
              <a:pPr/>
              <a:t>Competitor 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090988" y="5529263"/>
            <a:ext cx="1014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FC236EDD-1AE2-4501-AEE7-B2F5345286B6}" type="datetime'C''om''''''''''''''p''et''''''ito''''''r'' 1'''">
              <a:rPr lang="en-US" altLang="en-US" sz="1400" smtClean="0">
                <a:solidFill>
                  <a:schemeClr val="tx2"/>
                </a:solidFill>
              </a:rPr>
              <a:pPr/>
              <a:t>Competitor 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3306D55-AF26-6D8E-0894-7E8233D8ADB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090988" y="5792788"/>
            <a:ext cx="7969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4C9F4561-CA1C-4899-96A3-10DAD347B4E3}" type="datetime'''''O''u''''r'''''''''''''' ''''''''br''a''''''''''''''''nd'">
              <a:rPr lang="en-US" altLang="en-US" sz="1400" smtClean="0">
                <a:solidFill>
                  <a:schemeClr val="tx2"/>
                </a:solidFill>
              </a:rPr>
              <a:pPr/>
              <a:t>Our brand</a:t>
            </a:fld>
            <a:endParaRPr lang="en-US" sz="1400" dirty="0">
              <a:solidFill>
                <a:schemeClr val="tx2"/>
              </a:solidFill>
            </a:endParaRP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81C0DB3-71BA-BC83-90C6-90D6683C73B5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70708856"/>
              </p:ext>
            </p:extLst>
          </p:nvPr>
        </p:nvGraphicFramePr>
        <p:xfrm>
          <a:off x="6977063" y="1928813"/>
          <a:ext cx="3368675" cy="3206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25646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014C3953-7EE9-42D7-8B16-048E0AA3DFF0}" type="datetime'''''2''''''0''''''''2''''''''''''''''2'''''''''''''">
              <a:rPr lang="en-US" altLang="en-US" sz="1400" smtClean="0">
                <a:solidFill>
                  <a:schemeClr val="tx2"/>
                </a:solidFill>
              </a:rPr>
              <a:pPr/>
              <a:t>202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05815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E8EFF53F-771E-439A-A52F-C0D606E58A10}" type="datetime'''''''''''''''''''''''''''2''''0''''''''''''''''''''''2''3'''">
              <a:rPr lang="en-US" altLang="en-US" sz="1400" smtClean="0">
                <a:solidFill>
                  <a:schemeClr val="tx2"/>
                </a:solidFill>
              </a:rPr>
              <a:pPr/>
              <a:t>2023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85825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0159AE26-FACE-4A94-853B-784C4286B43C}" type="datetime'''''''''''2''0''''''''2''''''''4'''''''''''">
              <a:rPr lang="en-US" altLang="en-US" sz="1400" smtClean="0">
                <a:solidFill>
                  <a:schemeClr val="tx2"/>
                </a:solidFill>
              </a:rPr>
              <a:pPr/>
              <a:t>2024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286625" y="326548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B06B3518-261E-4174-951E-649A2E7B075B}" type="datetime'''''''''''''''''''''''2''''''5''0'''''''''''''''''''''">
              <a:rPr lang="en-US" altLang="en-US" sz="1400" smtClean="0">
                <a:solidFill>
                  <a:schemeClr val="tx2"/>
                </a:solidFill>
              </a:rPr>
              <a:pPr/>
              <a:t>250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088313" y="233045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1627DD8A-59C3-4114-A613-B289D929ABBD}" type="datetime'''''''''''''''''''''''40''''''''''''''''''''''''''''''''''1'''">
              <a:rPr lang="en-US" altLang="en-US" sz="1400" smtClean="0">
                <a:solidFill>
                  <a:schemeClr val="tx2"/>
                </a:solidFill>
              </a:rPr>
              <a:pPr/>
              <a:t>40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888413" y="183515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0AE96AA1-64D8-43AA-99CE-9DF5CC15D424}" type="datetime'''''''''''''''''''''''''4''''8''1'''''''''''">
              <a:rPr lang="en-US" altLang="en-US" sz="1400" smtClean="0">
                <a:solidFill>
                  <a:schemeClr val="tx2"/>
                </a:solidFill>
              </a:rPr>
              <a:pPr/>
              <a:t>48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E811CE7-85FB-AD8B-ADCD-1815151A8D0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659938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93836959-0206-4AD0-BA0C-9E93E4D256FE}" type="datetime'''''''''''''''''''''''''''''''2''''''0''2''''''''5'''''">
              <a:rPr lang="en-US" altLang="en-US" sz="1400" smtClean="0">
                <a:solidFill>
                  <a:schemeClr val="tx2"/>
                </a:solidFill>
              </a:rPr>
              <a:pPr/>
              <a:t>2025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ED52839-FFA5-C8AB-E42F-2C4998EC946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690100" y="177323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DA319D95-1562-4D1F-AAE6-D9DD02845C53}" type="datetime'''''''''''''''''4''''''''''''''''''''''''9''''1'''''''">
              <a:rPr lang="en-US" altLang="en-US" sz="1400" smtClean="0">
                <a:solidFill>
                  <a:schemeClr val="tx2"/>
                </a:solidFill>
              </a:rPr>
              <a:pPr/>
              <a:t>49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9089BB3-4BF5-870D-819F-35C54BBB48A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7131050" y="5534025"/>
            <a:ext cx="250825" cy="187325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432675" y="5529263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3DC7799E-7283-41AA-AF09-F53228046BE1}" type="datetime'''P''''e''''''n''''d''''''''''''''''in''''''''''''g'''''''''''">
              <a:rPr lang="en-US" altLang="en-US" sz="1400" smtClean="0">
                <a:solidFill>
                  <a:srgbClr val="000000"/>
                </a:solidFill>
              </a:rPr>
              <a:pPr/>
              <a:t>Pending</a:t>
            </a:fld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928813" y="1290638"/>
            <a:ext cx="3203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1588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2014DB47-44DC-45FD-B179-97DB17FA6DC7}" type="thinkcell&lt;?xml version=&quot;1.0&quot; encoding=&quot;UTF-16&quot; standalone=&quot;yes&quot;?&gt;&lt;root reqver=&quot;28224&quot;&gt;&lt;version val=&quot;35704&quot;/&gt;&lt;PersistentType&gt;&lt;m_varval type=&quot;5&quot;&gt;Market share (2022–2025)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LeftChartTitle&lt;/m_strName&gt;&lt;/PersistentType&gt;&lt;/root&gt;">
              <a:rPr lang="en-US" altLang="en-US" smtClean="0">
                <a:solidFill>
                  <a:schemeClr val="tx2"/>
                </a:solidFill>
              </a:rPr>
              <a:pPr/>
              <a:t>Market share (2022–2025)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BCD959A9-1708-9CF4-114D-C95D3A9E750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059613" y="1290638"/>
            <a:ext cx="3203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9D862576-566D-41F0-AA03-DDB7703ACFDA}" type="thinkcell&lt;?xml version=&quot;1.0&quot; encoding=&quot;UTF-16&quot; standalone=&quot;yes&quot;?&gt;&lt;root reqver=&quot;28224&quot;&gt;&lt;version val=&quot;35704&quot;/&gt;&lt;PersistentType&gt;&lt;m_varval type=&quot;5&quot;&gt;Our orders (1K)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RightChartTitle&lt;/m_strName&gt;&lt;/PersistentType&gt;&lt;/root&gt;">
              <a:rPr lang="en-US" altLang="en-US" smtClean="0">
                <a:solidFill>
                  <a:schemeClr val="tx2"/>
                </a:solidFill>
              </a:rPr>
              <a:pPr/>
              <a:t>Our orders (1K)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3099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THINKCELLUNDODONOTDELETE" val="0"/>
  <p:tag name="THINKCELLPRESENTATIONDONOTDELETE" val="&lt;?xml version=&quot;1.0&quot; encoding=&quot;UTF-16&quot; standalone=&quot;yes&quot;?&gt;&lt;root reqver=&quot;28224&quot;&gt;&lt;version val=&quot;3560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PhHJ.AO9Ro6Pjp7hRc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55gjEFCK2BxEKYs.nf2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FTCWRCuFPEXvkjbXWu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6DTj0IWq6yUdqIaK8_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_NoAmkN1_Fc.A5LsJ_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_b73Ys6iA1bNd0Pp9W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9MtfMZfFR77YM_WlRc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io1Y6DUi_1nr2RAWwY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hcepSycc6zmS5L8SJ8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OIIN24FxJUJf5zhlUB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upImP14Tq9rvg4ui4SZ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.BKVzkUcJA6TxuGK6Z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Nf1RXFODE1KmisFJWF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pmcw4I0EwPStmvc.IR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zYjdqYCUXm7zKAh_hM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0pgZeIc_Ah00eGMg3m6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AuNY3_4jSRjnyw22CC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ytunMZN0u0O.fqyrL1T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J.tNvrDPoiGXBESRZYg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0PdxiR2QY9sVPaSDXn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hNdyxogT9iVlZ7C48G7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RovSePTgH0HutpLx7mj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sknN0Av.laR5BuMbNm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2Eq8VHa7RZLyINbkqzR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jmD8g1tluyZJ17cb071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49QEKNBaLF8_kijQjA5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5mOPZjYEOZrD5JMLu5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gq.gFwZ6cy0KdjFA_J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mfLdxlJE4hcWNQMYZ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Y_MPzaf_sO6x119XJVI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FTCWRCuFPEXvkjbXWuP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.dxM5ukYVlrEsZqW0HG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6DTj0IWq6yUdqIaK8_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AwDjCjpBomK6WE0dSe3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_b73Ys6iA1bNd0Pp9WF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g70hSFTFFAkUCUPqcy_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9MtfMZfFR77YM_WlRco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oEzeDFwIm4Vs9R0QWY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hcepSycc6zmS5L8SJ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49QEKNBaLF8_kijQjA5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OIIN24FxJUJf5zhlUBN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upImP14Tq9rvg4ui4SZ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.BKVzkUcJA6TxuGK6Zv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Nf1RXFODE1KmisFJWFi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pmcw4I0EwPStmvc.IR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zYjdqYCUXm7zKAh_hM6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c7Wxwb9RaIhBI47CBAv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Tl_4RO91LFaZLqxZLg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RovSePTgH0HutpLx7mj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sknN0Av.laR5BuMbNm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5mOPZjYEOZrD5JMLu5v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2Eq8VHa7RZLyINbkqzR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jmD8g1tluyZJ17cb071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gq.gFwZ6cy0KdjFA_J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mfLdxlJE4hcWNQMYZ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m5vxRoSA3VuER4qycTIA"/>
</p:tagLst>
</file>

<file path=ppt/theme/theme1.xml><?xml version="1.0" encoding="utf-8"?>
<a:theme xmlns:a="http://schemas.openxmlformats.org/drawingml/2006/main" name="think-cell 2024">
  <a:themeElements>
    <a:clrScheme name="Custom 23">
      <a:dk1>
        <a:sysClr val="windowText" lastClr="000000"/>
      </a:dk1>
      <a:lt1>
        <a:sysClr val="window" lastClr="FFFFFF"/>
      </a:lt1>
      <a:dk2>
        <a:srgbClr val="444444"/>
      </a:dk2>
      <a:lt2>
        <a:srgbClr val="EAEAEA"/>
      </a:lt2>
      <a:accent1>
        <a:srgbClr val="6EA600"/>
      </a:accent1>
      <a:accent2>
        <a:srgbClr val="4C7300"/>
      </a:accent2>
      <a:accent3>
        <a:srgbClr val="0070B0"/>
      </a:accent3>
      <a:accent4>
        <a:srgbClr val="00507D"/>
      </a:accent4>
      <a:accent5>
        <a:srgbClr val="C0C0C0"/>
      </a:accent5>
      <a:accent6>
        <a:srgbClr val="777777"/>
      </a:accent6>
      <a:hlink>
        <a:srgbClr val="0070B0"/>
      </a:hlink>
      <a:folHlink>
        <a:srgbClr val="C52536"/>
      </a:folHlink>
    </a:clrScheme>
    <a:fontScheme name="think-c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777777"/>
          </a:solidFill>
        </a:ln>
      </a:spPr>
      <a:bodyPr lIns="36000" tIns="36000" rIns="36000" bIns="36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77777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c template 2024.pptx" id="{41AF45B7-E58A-4964-942E-E1FD5E627DAB}" vid="{01A9D26A-1A55-414A-AB1C-A8B319AF91A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a128173-af0f-47db-b59a-3b587c519afd" xsi:nil="true"/>
    <lcf76f155ced4ddcb4097134ff3c332f xmlns="a200cd9b-af9f-4895-915b-682a20ddc275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59D86B7DE503449490ABD2357F36ED" ma:contentTypeVersion="11" ma:contentTypeDescription="Create a new document." ma:contentTypeScope="" ma:versionID="ff3686331224cfeb2f0490fcf60a21f8">
  <xsd:schema xmlns:xsd="http://www.w3.org/2001/XMLSchema" xmlns:xs="http://www.w3.org/2001/XMLSchema" xmlns:p="http://schemas.microsoft.com/office/2006/metadata/properties" xmlns:ns2="a200cd9b-af9f-4895-915b-682a20ddc275" xmlns:ns3="3a128173-af0f-47db-b59a-3b587c519afd" targetNamespace="http://schemas.microsoft.com/office/2006/metadata/properties" ma:root="true" ma:fieldsID="90e01fc446f41e860326a4dd628c68e6" ns2:_="" ns3:_="">
    <xsd:import namespace="a200cd9b-af9f-4895-915b-682a20ddc275"/>
    <xsd:import namespace="3a128173-af0f-47db-b59a-3b587c519af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00cd9b-af9f-4895-915b-682a20ddc2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128173-af0f-47db-b59a-3b587c519af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8eb193d8-7aa1-4da9-83b8-5dd33688a9d3}" ma:internalName="TaxCatchAll" ma:showField="CatchAllData" ma:web="3a128173-af0f-47db-b59a-3b587c519af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239F5EF-3BC7-4D8D-A836-281F968EEBAE}">
  <ds:schemaRefs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elements/1.1/"/>
    <ds:schemaRef ds:uri="http://purl.org/dc/dcmitype/"/>
    <ds:schemaRef ds:uri="http://purl.org/dc/terms/"/>
    <ds:schemaRef ds:uri="http://schemas.openxmlformats.org/package/2006/metadata/core-properties"/>
    <ds:schemaRef ds:uri="864686ff-c528-4121-8c14-dfe2dfe54fd3"/>
    <ds:schemaRef ds:uri="6dd700bd-da09-4649-9444-0dda6d878ea0"/>
    <ds:schemaRef ds:uri="3a128173-af0f-47db-b59a-3b587c519afd"/>
    <ds:schemaRef ds:uri="a200cd9b-af9f-4895-915b-682a20ddc275"/>
  </ds:schemaRefs>
</ds:datastoreItem>
</file>

<file path=customXml/itemProps2.xml><?xml version="1.0" encoding="utf-8"?>
<ds:datastoreItem xmlns:ds="http://schemas.openxmlformats.org/officeDocument/2006/customXml" ds:itemID="{57D8999C-1797-48CC-9209-81F5AFDDAC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00cd9b-af9f-4895-915b-682a20ddc275"/>
    <ds:schemaRef ds:uri="3a128173-af0f-47db-b59a-3b587c519af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700B150-5000-4C50-84F4-C0ADDCA8589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ink-cell corporate template</Template>
  <TotalTime>47</TotalTime>
  <Words>45</Words>
  <Application>Microsoft Office PowerPoint</Application>
  <PresentationFormat>Widescreen</PresentationFormat>
  <Paragraphs>4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Symbol</vt:lpstr>
      <vt:lpstr>think-cell 2024</vt:lpstr>
      <vt:lpstr>think-cell Slide</vt:lpstr>
      <vt:lpstr>Competition: Germany</vt:lpstr>
      <vt:lpstr>Competition: Canad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ronwyn Frey</dc:creator>
  <cp:lastModifiedBy>Doan, Danny B</cp:lastModifiedBy>
  <cp:revision>10</cp:revision>
  <dcterms:created xsi:type="dcterms:W3CDTF">2024-11-22T16:33:01Z</dcterms:created>
  <dcterms:modified xsi:type="dcterms:W3CDTF">2025-05-07T16:2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59D86B7DE503449490ABD2357F36ED</vt:lpwstr>
  </property>
  <property fmtid="{D5CDD505-2E9C-101B-9397-08002B2CF9AE}" pid="3" name="MediaServiceImageTags">
    <vt:lpwstr/>
  </property>
</Properties>
</file>